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6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87E600-C82C-1A2A-C88A-F02524309C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A115990-2882-3445-EB89-BA5054748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0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E1DF42-5644-5481-F508-B4858CD7E7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H" dirty="0"/>
              <a:t>Quantitative Slid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7C3AE7-2DFD-6A8F-FAA5-4BA5DEF0EB5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47513" y="6635750"/>
            <a:ext cx="344487" cy="206375"/>
          </a:xfrm>
          <a:prstGeom prst="rect">
            <a:avLst/>
          </a:prstGeom>
        </p:spPr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989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3</TotalTime>
  <Words>4</Words>
  <Application>Microsoft Office PowerPoint</Application>
  <PresentationFormat>Widescreen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02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65</cp:revision>
  <dcterms:created xsi:type="dcterms:W3CDTF">2021-03-31T02:49:57Z</dcterms:created>
  <dcterms:modified xsi:type="dcterms:W3CDTF">2025-10-16T11:28:10Z</dcterms:modified>
  <cp:category/>
</cp:coreProperties>
</file>